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3447" autoAdjust="0"/>
  </p:normalViewPr>
  <p:slideViewPr>
    <p:cSldViewPr snapToGrid="0">
      <p:cViewPr varScale="1">
        <p:scale>
          <a:sx n="104" d="100"/>
          <a:sy n="104" d="100"/>
        </p:scale>
        <p:origin x="62" y="165"/>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3/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3/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3</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chal Shankar Gupt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13-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800" dirty="0"/>
          </a:p>
          <a:p>
            <a:pPr marL="0" indent="0" algn="just">
              <a:buNone/>
            </a:pPr>
            <a:endParaRPr lang="en-US" sz="1800" dirty="0"/>
          </a:p>
          <a:p>
            <a:pPr marL="0" indent="0" algn="just">
              <a:buNone/>
            </a:pPr>
            <a:endParaRPr lang="en-US" sz="1800" dirty="0"/>
          </a:p>
          <a:p>
            <a:pPr marL="0" indent="0" algn="just">
              <a:buNone/>
            </a:pPr>
            <a:r>
              <a:rPr lang="en-US" sz="1800" dirty="0"/>
              <a:t>Shell likely implements Azure's core services, such as Virtual Machines, Blob Storage, and secure networking, to manage cloud-based infrastructure. By utilizing these services, Shell can efficiently run applications, store vast amounts of data, and securely connect its global oper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0210F4EC-607F-96F9-D2E7-735A7150246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99100" y="2553542"/>
            <a:ext cx="5350706" cy="2675353"/>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When creating and resolving service and incident request tickets in ServiceNow, I initially found it difficult to manage multiple users and navigate the different processes. It took me a while to get comfortable with the interface and streamline the workflow.</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E1F0FADE-50D4-BAE0-DB37-A435A9396E6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2349062"/>
            <a:ext cx="5349007" cy="3146474"/>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During the AWS hands-on session, I struggled to correctly configure SSH access to the private EC2 instance via the public one. I realized I need to deepen my understanding of network configurations and security group setting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3C45D0AF-CB3A-DC36-5E6C-A93A8CFE57FF}"/>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221090" y="2132115"/>
            <a:ext cx="3710123" cy="3357661"/>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While working with Azure, I found it challenging to connect to the private VM through the public one. It took me some time to understand how to set up secure networking between the two VMs, highlighting the need to improve my skills in managing Azure's virtual network configur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5AAF6079-9ED7-CF7F-12B1-F21B36EBA543}"/>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264393" y="3118823"/>
            <a:ext cx="3596647" cy="1560579"/>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Revisit ServiceNow tutorials, review AWS documentation on SSH access and network configurations, and explore Azure’s virtual network setting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tart immediately and aim to get hands on with ServiceNow, AWS and Azure.</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omfortable navigating ServiceNow and managing tickets efficiently, improved understanding of AWS network configurations, and confident in setting up secure connections between Azure VM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On the last day, we created two VMs on Azure—one private and one public. Our task was to connect to the private VM using the public one. This hands-on exercise was incredibly fun and engaging, making it a truly interesting experience.</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AA6DD267-79F2-7D3E-E77C-140854F9A915}"/>
              </a:ext>
            </a:extLst>
          </p:cNvPr>
          <p:cNvPicPr>
            <a:picLocks noChangeAspect="1"/>
          </p:cNvPicPr>
          <p:nvPr/>
        </p:nvPicPr>
        <p:blipFill>
          <a:blip r:embed="rId7" cstate="screen">
            <a:extLst>
              <a:ext uri="{28A0092B-C50C-407E-A947-70E740481C1C}">
                <a14:useLocalDpi xmlns:a14="http://schemas.microsoft.com/office/drawing/2010/main" val="0"/>
              </a:ext>
            </a:extLst>
          </a:blip>
          <a:srcRect t="4571"/>
          <a:stretch/>
        </p:blipFill>
        <p:spPr>
          <a:xfrm>
            <a:off x="6401650" y="2734761"/>
            <a:ext cx="5349005" cy="2534353"/>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t>This week focused on getting hands-on IDSO specific technical tools such as ServiceNow, AWS and Azure.</a:t>
            </a:r>
          </a:p>
          <a:p>
            <a:pPr>
              <a:lnSpc>
                <a:spcPct val="100000"/>
              </a:lnSpc>
            </a:pPr>
            <a:r>
              <a:rPr lang="en-US" sz="1800" dirty="0"/>
              <a:t>The upcoming week will dive into the remaining tools such as Docker, Kubernetes and Terraform.</a:t>
            </a:r>
          </a:p>
          <a:p>
            <a:pPr>
              <a:lnSpc>
                <a:spcPct val="100000"/>
              </a:lnSpc>
            </a:pPr>
            <a:r>
              <a:rPr lang="en-US" sz="1800" dirty="0"/>
              <a:t>The cloud technologies and ServiceNow are commonly used tools in my department and will surely help me in my work.</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I am not afraid of storms for I am learning how to sail my ship.”</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DB36B96A-EC93-735D-9645-AA39B8B5A2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5713" y="2135806"/>
            <a:ext cx="5340880" cy="3468103"/>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t>Learned about ITIL, its objectives, components, and framework. Additionally, explored ServiceNow, understanding its features, applications, and processes for managing incidents, problems, changes, and service requests. </a:t>
            </a:r>
          </a:p>
          <a:p>
            <a:pPr algn="just"/>
            <a:r>
              <a:rPr lang="en-US" sz="1800" dirty="0"/>
              <a:t>ITIL and ServiceNow improves efficiency, accountability, and service quality through clear processes for handling incidents, problems, and service requests.</a:t>
            </a:r>
          </a:p>
          <a:p>
            <a:pPr algn="just"/>
            <a:r>
              <a:rPr lang="en-US" sz="1800" dirty="0"/>
              <a:t>In the energy sector, ITIL frameworks and tools like ServiceNow can be used to ensure smooth operation of IT services, manage incidents efficiently, and minimize downtime, helping Shell maintain critical infrastructure and meet service level agreemen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7352C79D-1FA6-13D0-BEE1-730704368FF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2513602"/>
            <a:ext cx="5353885" cy="2771021"/>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t>I learned about AWS and its core services like EC2, S3, EBS, and VPC. I gained practical experience by creating two EC2 instances (one with a public IP and one without), connecting to them using SSH, and linking both S3 buckets and EBS storage to the public instance.</a:t>
            </a:r>
          </a:p>
          <a:p>
            <a:pPr algn="just"/>
            <a:r>
              <a:rPr lang="en-US" sz="1800" dirty="0"/>
              <a:t>Understanding AWS services and how to set up, configure, and connect instances and storage is essential for managing cloud-based infrastructure efficiently and securely.</a:t>
            </a:r>
          </a:p>
          <a:p>
            <a:pPr algn="just"/>
            <a:r>
              <a:rPr lang="en-US" sz="1800" dirty="0"/>
              <a:t>AWS can be used to manage scalable cloud infrastructure, enabling Shell to run critical applications, store vast amounts of data, and ensure secure access to resource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4FE847E0-77E9-7A9F-AFB4-FDE22740315F}"/>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3592" y="2674883"/>
            <a:ext cx="5320236" cy="2793124"/>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t>I learned about Azure's core services, such as Virtual Machines (VM), File Storage, and Blob Storage. During the hands-on session, I created two VMs (one with a public IP and one without) and connected to the public VM via SSH, then accessed the private VM through the public one. </a:t>
            </a:r>
          </a:p>
          <a:p>
            <a:pPr algn="just"/>
            <a:r>
              <a:rPr lang="en-US" sz="1800" dirty="0"/>
              <a:t>Understanding Azure’s infrastructure and how to manage VMs, storage solutions, and secure connections is essential for effectively deploying and managing cloud-based services.</a:t>
            </a:r>
          </a:p>
          <a:p>
            <a:pPr algn="just"/>
            <a:r>
              <a:rPr lang="en-US" sz="1800" dirty="0"/>
              <a:t>Azure’s services can help Shell optimize cloud infrastructure for scalable storage, secure data management, and seamless communication between virtual networks. </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254E0736-5F5C-BD28-D7CF-CEE9BFD2C3D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80790" y="2306796"/>
            <a:ext cx="4776951" cy="3184634"/>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800" dirty="0"/>
          </a:p>
          <a:p>
            <a:pPr marL="0" indent="0" algn="just">
              <a:buNone/>
            </a:pPr>
            <a:endParaRPr lang="en-US" sz="1800" dirty="0"/>
          </a:p>
          <a:p>
            <a:pPr marL="0" indent="0" algn="just">
              <a:buNone/>
            </a:pPr>
            <a:endParaRPr lang="en-US" sz="1800" dirty="0"/>
          </a:p>
          <a:p>
            <a:pPr marL="0" indent="0" algn="just">
              <a:buNone/>
            </a:pPr>
            <a:r>
              <a:rPr lang="en-US" sz="1800" dirty="0"/>
              <a:t>By using ITIL and ServiceNow, Shell benefits from improved service management, quicker incident resolution, and better adherence to service level agreements. This reduces downtime, ensures reliability, and enhances overall IT service quality, supporting Shell’s critical energy oper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A41F94D4-6DA3-9335-421C-A81E66C9E148}"/>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95548" y="2389542"/>
            <a:ext cx="5354258" cy="30191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lgn="just">
              <a:buNone/>
            </a:pPr>
            <a:endParaRPr lang="en-US" sz="1800" dirty="0"/>
          </a:p>
          <a:p>
            <a:pPr marL="0" indent="0" algn="just">
              <a:buNone/>
            </a:pPr>
            <a:r>
              <a:rPr lang="en-US" sz="1800" dirty="0"/>
              <a:t>Shell likely uses AWS services such as EC2, S3, and EBS to manage cloud infrastructure for scalable data storage and computing. By leveraging these services, Shell can efficiently deploy and manage applications while ensuring secure access to its resources across global oper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A3334ECF-C1D2-8C83-2FFA-7778C942EE8D}"/>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1268" y="2752997"/>
            <a:ext cx="5348538" cy="229223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241</TotalTime>
  <Words>900</Words>
  <Application>Microsoft Office PowerPoint</Application>
  <PresentationFormat>Widescreen</PresentationFormat>
  <Paragraphs>70</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chal Gupta</cp:lastModifiedBy>
  <cp:revision>506</cp:revision>
  <dcterms:created xsi:type="dcterms:W3CDTF">2022-01-18T12:35:56Z</dcterms:created>
  <dcterms:modified xsi:type="dcterms:W3CDTF">2024-09-13T14:0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